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F6F6F6"/>
    <a:srgbClr val="D9D9D9"/>
    <a:srgbClr val="BDBDBD"/>
    <a:srgbClr val="727272"/>
    <a:srgbClr val="E5E5E5"/>
    <a:srgbClr val="444444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3-30T14:50:35.355" v="20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3-30T14:50:35.355" v="20" actId="27918"/>
        <pc:sldMkLst>
          <pc:docMk/>
          <pc:sldMk cId="2378578510" sldId="412"/>
        </pc:sldMkLst>
        <pc:spChg chg="mod">
          <ac:chgData name="Weigel Stefan (PAR-EPS)" userId="fd3b2067-2981-4ad8-bf3a-d2e1004e4fa8" providerId="ADAL" clId="{A4CFA2F4-FF8D-446B-B271-6DF568DBEADA}" dt="2026-03-30T14:48:41.555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3-30T14:48:56.735" v="6" actId="20577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H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H$4:$H$15</c:f>
              <c:strCache>
                <c:ptCount val="12"/>
                <c:pt idx="0">
                  <c:v>Zürich Flughafen</c:v>
                </c:pt>
                <c:pt idx="1">
                  <c:v>Zürich Hardbrücke</c:v>
                </c:pt>
                <c:pt idx="2">
                  <c:v>Olten</c:v>
                </c:pt>
                <c:pt idx="3">
                  <c:v>Zürich Stadelhof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Lausanne</c:v>
                </c:pt>
                <c:pt idx="7">
                  <c:v>Basel SBB</c:v>
                </c:pt>
                <c:pt idx="8">
                  <c:v>Luzern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4:$I$15</c:f>
              <c:numCache>
                <c:formatCode>#,##0</c:formatCode>
                <c:ptCount val="12"/>
                <c:pt idx="0">
                  <c:v>55500</c:v>
                </c:pt>
                <c:pt idx="1">
                  <c:v>62400</c:v>
                </c:pt>
                <c:pt idx="2">
                  <c:v>86700</c:v>
                </c:pt>
                <c:pt idx="3">
                  <c:v>86700</c:v>
                </c:pt>
                <c:pt idx="4">
                  <c:v>92900</c:v>
                </c:pt>
                <c:pt idx="5">
                  <c:v>99900</c:v>
                </c:pt>
                <c:pt idx="6">
                  <c:v>107700</c:v>
                </c:pt>
                <c:pt idx="7">
                  <c:v>112100</c:v>
                </c:pt>
                <c:pt idx="8">
                  <c:v>114900</c:v>
                </c:pt>
                <c:pt idx="9">
                  <c:v>116400</c:v>
                </c:pt>
                <c:pt idx="10">
                  <c:v>191700</c:v>
                </c:pt>
                <c:pt idx="11">
                  <c:v>4809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C0C0C0"/>
                  </a:solidFill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8329-4BC0-B2A2-0C7A0E889DD6}"/>
                  </c:ext>
                </c:extLst>
              </c15:ser>
            </c15:filteredBarSeries>
          </c:ext>
        </c:extLst>
      </c:barChart>
      <c:valAx>
        <c:axId val="139943936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30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mbers of passengers using stations i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724123432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verage number of persons boarding and alighting from trains per working day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8" y="6106515"/>
            <a:ext cx="8029575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he 12 most frequented stations are shown, taking into account the passengers boarding and alighting from the trains; Bern: excluding RBS; Basel SBB and Genève: passengers boarding and alighting to/from abroad are only partially recorded; Zürich Stadelhofen: excluding FB. Reference: timetable year 2025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FC031A9D-5DB2-4F1C-A86A-42B8143F99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96e82a89-ba48-4728-b345-cf206dbec8f1"/>
    <ds:schemaRef ds:uri="http://purl.org/dc/terms/"/>
    <ds:schemaRef ds:uri="2f5c8543-cf23-4718-a3b8-32b0a91d511a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Numbers of passengers using stations in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umbers of passengers using stations in 2024.</dc:title>
  <dc:creator>Meyer Raphael (KOM-PGA-VSF)</dc:creator>
  <cp:lastModifiedBy>Weigel Stefan (PAR-EPS)</cp:lastModifiedBy>
  <cp:revision>57</cp:revision>
  <dcterms:created xsi:type="dcterms:W3CDTF">2020-09-30T11:00:09Z</dcterms:created>
  <dcterms:modified xsi:type="dcterms:W3CDTF">2026-03-30T14:5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